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media/image2.bin" ContentType="image/png"/>
  <Override PartName="/ppt/media/image4.bin" ContentType="image/png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4016" r:id="rId4"/>
  </p:sldMasterIdLst>
  <p:notesMasterIdLst>
    <p:notesMasterId r:id="rId6"/>
  </p:notesMasterIdLst>
  <p:handoutMasterIdLst>
    <p:handoutMasterId r:id="rId7"/>
  </p:handoutMasterIdLst>
  <p:sldIdLst>
    <p:sldId id="1620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utor" initials="A" lastIdx="0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A44"/>
    <a:srgbClr val="F2F2F2"/>
    <a:srgbClr val="ED8B00"/>
    <a:srgbClr val="DB291C"/>
    <a:srgbClr val="000000"/>
    <a:srgbClr val="FFCD00"/>
    <a:srgbClr val="FF9900"/>
    <a:srgbClr val="C00000"/>
    <a:srgbClr val="3C8A2E"/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735" autoAdjust="0"/>
    <p:restoredTop sz="94830" autoAdjust="0"/>
  </p:normalViewPr>
  <p:slideViewPr>
    <p:cSldViewPr snapToGrid="0" showGuides="1">
      <p:cViewPr varScale="1">
        <p:scale>
          <a:sx n="94" d="100"/>
          <a:sy n="94" d="100"/>
        </p:scale>
        <p:origin x="2272" y="68"/>
      </p:cViewPr>
      <p:guideLst/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45862" cy="495793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4" y="2"/>
            <a:ext cx="2945862" cy="495793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>
                <a:latin typeface="Arial" panose="020B0604020202020204" pitchFamily="34" charset="0"/>
              </a:rPr>
              <a:t>11/15/2023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9307"/>
            <a:ext cx="2945862" cy="495793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429307"/>
            <a:ext cx="2945862" cy="495793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>
                <a:latin typeface="Arial" panose="020B0604020202020204" pitchFamily="34" charset="0"/>
              </a:rPr>
              <a:t>‹Nr.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6332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/>
              <a:pPr/>
              <a:t>11/15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59" cy="496332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5"/>
            <a:ext cx="2945659" cy="496332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3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524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bin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bin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927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D35CEE80-9913-49B6-AD2D-CD6015DCEA1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6BB5887F-93D5-475B-917E-FCC7B89F3723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D37D77E-C437-42FD-91ED-69906088553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  <p:sp>
        <p:nvSpPr>
          <p:cNvPr id="42" name="Title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010A447C-065D-4CFB-831F-3E79529AAB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926592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27CF3F4C-5874-4930-8527-36305B15F57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BBDF0290-19AC-4946-8A62-805CF2CCDC9C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CaseCode">
            <a:extLst>
              <a:ext uri="{FF2B5EF4-FFF2-40B4-BE49-F238E27FC236}">
                <a16:creationId xmlns:a16="http://schemas.microsoft.com/office/drawing/2014/main" id="{A5F15993-9A11-497E-9B56-FBC6CFC14D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9688FFC8-7352-479D-AA3C-FD6DC60CED1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829B2D-FBA8-486E-BA8A-D44EBE6D7A73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5277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7" y="1714500"/>
            <a:ext cx="9323916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CAC30FC8-4769-493E-8A50-EE686BE7D3B5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A86122FE-538F-4A32-A4D5-095A77004C94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8543C88E-E176-4291-8A87-994374277F5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2A178BA9-7781-4CBD-AA26-059841B96E1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3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DB4A35-A981-4070-976E-FF0B78FCCF1C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802990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8AC01345-8637-49F7-B27A-1F3623D0EA4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1537F287-C3D9-41AB-A895-877ED68E01DE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3937E4FF-E016-44F3-AD4A-BD40518CEBF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70F3F35D-F2C2-4AB4-B366-EEC863736AF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4DB589F-A6FF-45A0-9279-59580FC81C96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233882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8A2ACF0E-68DE-4019-9B26-9765BBDE1FC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8170BC7A-230F-4CFF-B510-7C11B6B6B394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11B7F5CA-811D-4AE2-962B-BF8A99E307A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7EB031C3-69E1-4133-9550-E7CB21DD10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3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089A2F-E1F6-41D3-964D-CBD86C232A5E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 Placeholder">
            <a:extLst>
              <a:ext uri="{FF2B5EF4-FFF2-40B4-BE49-F238E27FC236}">
                <a16:creationId xmlns:a16="http://schemas.microsoft.com/office/drawing/2014/main" id="{DA162907-83B7-41B9-AA11-C100A775B8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297731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BE26B797-9949-48A3-976D-A898E3C18E4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14E60C47-69F3-4ABA-80FD-E5DF82E7BA19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09112F48-72C6-45E5-A1E0-1581DF24E17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A22A7399-BED7-4421-B384-26835214549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BAD39A-8E4D-4CED-BFA6-6A113684235A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 Placeholder">
            <a:extLst>
              <a:ext uri="{FF2B5EF4-FFF2-40B4-BE49-F238E27FC236}">
                <a16:creationId xmlns:a16="http://schemas.microsoft.com/office/drawing/2014/main" id="{5AE356BE-E053-439C-AB9C-35F94CE819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281412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75488" y="1719072"/>
            <a:ext cx="9328912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7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7583F471-57B6-4DAA-89A7-6E0D0C078BFC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MIO_AGENDA_IGNORE_CHAPTER_REFERENCE" hidden="1">
            <a:extLst>
              <a:ext uri="{FF2B5EF4-FFF2-40B4-BE49-F238E27FC236}">
                <a16:creationId xmlns:a16="http://schemas.microsoft.com/office/drawing/2014/main" id="{D1E299B4-0A88-451E-904B-278ECCE2D8C1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796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/>
          <p:cNvSpPr>
            <a:spLocks noGrp="1"/>
          </p:cNvSpPr>
          <p:nvPr>
            <p:ph idx="1"/>
          </p:nvPr>
        </p:nvSpPr>
        <p:spPr>
          <a:xfrm>
            <a:off x="463296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2776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54806943"/>
      </p:ext>
    </p:extLst>
  </p:cSld>
  <p:clrMapOvr>
    <a:masterClrMapping/>
  </p:clrMapOvr>
  <p:transition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4706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504706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504706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504706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39556904"/>
      </p:ext>
    </p:extLst>
  </p:cSld>
  <p:clrMapOvr>
    <a:masterClrMapping/>
  </p:clrMapOvr>
  <p:transition>
    <p:fade/>
  </p:transition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upper right"/>
          <p:cNvSpPr>
            <a:spLocks noGrp="1"/>
          </p:cNvSpPr>
          <p:nvPr>
            <p:ph type="body" sz="quarter" idx="10"/>
          </p:nvPr>
        </p:nvSpPr>
        <p:spPr>
          <a:xfrm>
            <a:off x="8933144" y="345584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39"/>
              </a:spcBef>
              <a:defRPr sz="800">
                <a:solidFill>
                  <a:schemeClr val="tx1"/>
                </a:solidFill>
              </a:defRPr>
            </a:lvl1pPr>
            <a:lvl2pPr>
              <a:defRPr sz="727">
                <a:solidFill>
                  <a:schemeClr val="tx2"/>
                </a:solidFill>
              </a:defRPr>
            </a:lvl2pPr>
            <a:lvl3pPr>
              <a:defRPr sz="727">
                <a:solidFill>
                  <a:schemeClr val="tx2"/>
                </a:solidFill>
              </a:defRPr>
            </a:lvl3pPr>
            <a:lvl4pPr>
              <a:defRPr sz="692">
                <a:solidFill>
                  <a:schemeClr val="tx2"/>
                </a:solidFill>
              </a:defRPr>
            </a:lvl4pPr>
            <a:lvl5pPr>
              <a:defRPr sz="692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left"/>
          <p:cNvSpPr>
            <a:spLocks noGrp="1"/>
          </p:cNvSpPr>
          <p:nvPr>
            <p:ph type="body" sz="quarter" idx="11"/>
          </p:nvPr>
        </p:nvSpPr>
        <p:spPr>
          <a:xfrm>
            <a:off x="463296" y="1714500"/>
            <a:ext cx="3549904" cy="46482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16"/>
              </a:spcAft>
              <a:defRPr sz="1200"/>
            </a:lvl1pPr>
            <a:lvl2pPr>
              <a:spcBef>
                <a:spcPts val="208"/>
              </a:spcBef>
              <a:defRPr/>
            </a:lvl2pPr>
            <a:lvl3pPr>
              <a:spcBef>
                <a:spcPts val="208"/>
              </a:spcBef>
              <a:defRPr/>
            </a:lvl3pPr>
            <a:lvl4pPr>
              <a:spcBef>
                <a:spcPts val="208"/>
              </a:spcBef>
              <a:defRPr/>
            </a:lvl4pPr>
            <a:lvl5pPr>
              <a:spcBef>
                <a:spcPts val="208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right"/>
          <p:cNvSpPr>
            <a:spLocks noGrp="1"/>
          </p:cNvSpPr>
          <p:nvPr>
            <p:ph type="body" sz="quarter" idx="12"/>
          </p:nvPr>
        </p:nvSpPr>
        <p:spPr>
          <a:xfrm>
            <a:off x="4318000" y="1719073"/>
            <a:ext cx="7416801" cy="4643628"/>
          </a:xfrm>
        </p:spPr>
        <p:txBody>
          <a:bodyPr>
            <a:noAutofit/>
          </a:bodyPr>
          <a:lstStyle>
            <a:lvl1pPr marL="0" indent="0" algn="l">
              <a:spcBef>
                <a:spcPts val="1247"/>
              </a:spcBef>
              <a:buFontTx/>
              <a:buNone/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C7D1E866-CA49-4EA3-8027-580E53B9B6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59262"/>
      </p:ext>
    </p:extLst>
  </p:cSld>
  <p:clrMapOvr>
    <a:masterClrMapping/>
  </p:clrMapOvr>
  <p:transition>
    <p:fade/>
  </p:transition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463295" y="347472"/>
            <a:ext cx="11228832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"/>
          <p:cNvSpPr>
            <a:spLocks noGrp="1"/>
          </p:cNvSpPr>
          <p:nvPr>
            <p:ph type="pic" sz="quarter" idx="15"/>
          </p:nvPr>
        </p:nvSpPr>
        <p:spPr>
          <a:xfrm>
            <a:off x="5450351" y="1714500"/>
            <a:ext cx="6240000" cy="46482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00749781"/>
      </p:ext>
    </p:extLst>
  </p:cSld>
  <p:clrMapOvr>
    <a:masterClrMapping/>
  </p:clrMapOvr>
  <p:transition>
    <p:fade/>
  </p:transition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A5D9D6B-8AE5-40BD-B06B-DB5F7F384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E87F14BC-2A89-442C-A2A4-F8C495F64EDE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MIO_AGENDA_IGNORE_CHAPTER_REFERENCE" hidden="1">
            <a:extLst>
              <a:ext uri="{FF2B5EF4-FFF2-40B4-BE49-F238E27FC236}">
                <a16:creationId xmlns:a16="http://schemas.microsoft.com/office/drawing/2014/main" id="{47AE036B-D905-4E75-9AA0-BBD4F9B323D9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62EDD38-A67F-487C-BB7B-5F5DC45273C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  <p:sp>
        <p:nvSpPr>
          <p:cNvPr id="53" name="Title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A3A37F16-E9F9-4981-87DB-84053A39E1F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D14D431-72AB-147C-9CD0-9AED48D1209F}"/>
              </a:ext>
            </a:extLst>
          </p:cNvPr>
          <p:cNvSpPr txBox="1"/>
          <p:nvPr userDrawn="1"/>
        </p:nvSpPr>
        <p:spPr>
          <a:xfrm>
            <a:off x="4434840" y="90185"/>
            <a:ext cx="323088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2800" b="1" dirty="0">
                <a:solidFill>
                  <a:srgbClr val="FF0000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759323435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021DD-F549-41C3-B366-CFCBDD859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ECC1F342-3C5A-4884-B063-1F96DE727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2159D59-FAF6-4904-B82D-440C56566D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60591" y="1714500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9313772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"/>
          <p:cNvSpPr>
            <a:spLocks noGrp="1"/>
          </p:cNvSpPr>
          <p:nvPr>
            <p:ph type="chart" sz="quarter" idx="21"/>
          </p:nvPr>
        </p:nvSpPr>
        <p:spPr>
          <a:xfrm>
            <a:off x="6256871" y="2137713"/>
            <a:ext cx="5480304" cy="39833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 dirty="0"/>
              <a:t>Click icon to add chart</a:t>
            </a:r>
          </a:p>
        </p:txBody>
      </p:sp>
      <p:sp>
        <p:nvSpPr>
          <p:cNvPr id="6" name="Chart Title / Headline"/>
          <p:cNvSpPr>
            <a:spLocks noGrp="1"/>
          </p:cNvSpPr>
          <p:nvPr>
            <p:ph type="body" sz="quarter" idx="22"/>
          </p:nvPr>
        </p:nvSpPr>
        <p:spPr>
          <a:xfrm>
            <a:off x="6256871" y="1719074"/>
            <a:ext cx="5480304" cy="40594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CD00439A-130B-4E04-85CB-DABD856B2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33B9B3F6-9F40-4388-9B79-8E0961AD2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Content left">
            <a:extLst>
              <a:ext uri="{FF2B5EF4-FFF2-40B4-BE49-F238E27FC236}">
                <a16:creationId xmlns:a16="http://schemas.microsoft.com/office/drawing/2014/main" id="{81AD6F48-ECFC-4B93-B043-AEA877E0937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3"/>
            <a:ext cx="5480304" cy="4401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7276846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Title right / Headline"/>
          <p:cNvSpPr>
            <a:spLocks noGrp="1"/>
          </p:cNvSpPr>
          <p:nvPr>
            <p:ph type="body" sz="quarter" idx="22"/>
          </p:nvPr>
        </p:nvSpPr>
        <p:spPr>
          <a:xfrm>
            <a:off x="6254379" y="1719073"/>
            <a:ext cx="5486516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left"/>
          <p:cNvSpPr>
            <a:spLocks noGrp="1"/>
          </p:cNvSpPr>
          <p:nvPr>
            <p:ph type="chart" sz="quarter" idx="24"/>
          </p:nvPr>
        </p:nvSpPr>
        <p:spPr>
          <a:xfrm>
            <a:off x="460271" y="2115775"/>
            <a:ext cx="5480304" cy="39960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2" name="Chart Title left / Headline"/>
          <p:cNvSpPr>
            <a:spLocks noGrp="1"/>
          </p:cNvSpPr>
          <p:nvPr>
            <p:ph type="body" sz="quarter" idx="25"/>
          </p:nvPr>
        </p:nvSpPr>
        <p:spPr>
          <a:xfrm>
            <a:off x="463296" y="1719073"/>
            <a:ext cx="5480304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Chart Placeholder right">
            <a:extLst>
              <a:ext uri="{FF2B5EF4-FFF2-40B4-BE49-F238E27FC236}">
                <a16:creationId xmlns:a16="http://schemas.microsoft.com/office/drawing/2014/main" id="{F1BD57FD-600D-430A-AB0C-89DFCC950E21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6248403" y="2125011"/>
            <a:ext cx="5486397" cy="39960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CD26822-93FD-4865-A5E4-053695247E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B7DE9340-98F1-4431-9CA2-BA6425441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0527430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"/>
          <p:cNvSpPr>
            <a:spLocks noGrp="1"/>
          </p:cNvSpPr>
          <p:nvPr>
            <p:ph sz="quarter" idx="16"/>
          </p:nvPr>
        </p:nvSpPr>
        <p:spPr>
          <a:xfrm>
            <a:off x="5450349" y="1718455"/>
            <a:ext cx="6290545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834EAC11-4B6F-4989-ADAB-DCA27D91F5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615E83D0-63FA-4C06-8888-31EF8033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6350383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sz="quarter" idx="10"/>
          </p:nvPr>
        </p:nvSpPr>
        <p:spPr>
          <a:xfrm>
            <a:off x="8192978" y="1737504"/>
            <a:ext cx="3547917" cy="4644248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Left"/>
          <p:cNvSpPr>
            <a:spLocks noGrp="1"/>
          </p:cNvSpPr>
          <p:nvPr>
            <p:ph sz="quarter" idx="16"/>
          </p:nvPr>
        </p:nvSpPr>
        <p:spPr>
          <a:xfrm>
            <a:off x="473296" y="1718454"/>
            <a:ext cx="7400704" cy="46442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D58FC9CF-4F37-4309-BF5F-E64AE49426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6999054A-E358-4B12-B841-DE440A68D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2649281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left"/>
          <p:cNvSpPr>
            <a:spLocks noGrp="1"/>
          </p:cNvSpPr>
          <p:nvPr>
            <p:ph type="chart" sz="quarter" idx="15"/>
          </p:nvPr>
        </p:nvSpPr>
        <p:spPr>
          <a:xfrm>
            <a:off x="461468" y="2115797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 dirty="0"/>
              <a:t>Click icon to add chart</a:t>
            </a:r>
          </a:p>
        </p:txBody>
      </p:sp>
      <p:sp>
        <p:nvSpPr>
          <p:cNvPr id="18" name="Chart Title left / Headline"/>
          <p:cNvSpPr>
            <a:spLocks noGrp="1"/>
          </p:cNvSpPr>
          <p:nvPr>
            <p:ph type="body" sz="quarter" idx="18"/>
          </p:nvPr>
        </p:nvSpPr>
        <p:spPr>
          <a:xfrm>
            <a:off x="459119" y="1722943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Chart Placeholder center">
            <a:extLst>
              <a:ext uri="{FF2B5EF4-FFF2-40B4-BE49-F238E27FC236}">
                <a16:creationId xmlns:a16="http://schemas.microsoft.com/office/drawing/2014/main" id="{16889619-7368-4B21-B502-003FD717C954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432357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 dirty="0"/>
              <a:t>Click icon to add chart</a:t>
            </a:r>
          </a:p>
        </p:txBody>
      </p:sp>
      <p:sp>
        <p:nvSpPr>
          <p:cNvPr id="20" name="Chart Title center / Headline">
            <a:extLst>
              <a:ext uri="{FF2B5EF4-FFF2-40B4-BE49-F238E27FC236}">
                <a16:creationId xmlns:a16="http://schemas.microsoft.com/office/drawing/2014/main" id="{7536B633-26E6-47E5-A809-A97D26199C4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122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Chart Placeholder right">
            <a:extLst>
              <a:ext uri="{FF2B5EF4-FFF2-40B4-BE49-F238E27FC236}">
                <a16:creationId xmlns:a16="http://schemas.microsoft.com/office/drawing/2014/main" id="{B4691CB5-FF7F-4DAF-80B3-769541086497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819369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 dirty="0"/>
              <a:t>Click icon to add chart</a:t>
            </a:r>
          </a:p>
        </p:txBody>
      </p:sp>
      <p:sp>
        <p:nvSpPr>
          <p:cNvPr id="22" name="Chart Title right / Headline">
            <a:extLst>
              <a:ext uri="{FF2B5EF4-FFF2-40B4-BE49-F238E27FC236}">
                <a16:creationId xmlns:a16="http://schemas.microsoft.com/office/drawing/2014/main" id="{D8875204-BB59-4C5F-ABB1-D0ECEC5A070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9134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3" name="Subtitle">
            <a:extLst>
              <a:ext uri="{FF2B5EF4-FFF2-40B4-BE49-F238E27FC236}">
                <a16:creationId xmlns:a16="http://schemas.microsoft.com/office/drawing/2014/main" id="{272C8D47-97C8-4E6F-91CC-C3AB406C1C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4" name="Title">
            <a:extLst>
              <a:ext uri="{FF2B5EF4-FFF2-40B4-BE49-F238E27FC236}">
                <a16:creationId xmlns:a16="http://schemas.microsoft.com/office/drawing/2014/main" id="{D65F0445-032D-4E6A-83EC-59A2184ED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9579469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13"/>
          </p:nvPr>
        </p:nvSpPr>
        <p:spPr>
          <a:xfrm>
            <a:off x="481764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330040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171687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9020883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bottom left"/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bottom center left"/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bottom center right"/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bottom right"/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81DFAED1-3C69-4431-8715-026D730F1B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548C662B-0462-4963-B666-2976F675A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384509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/>
          <p:cNvSpPr>
            <a:spLocks noGrp="1"/>
          </p:cNvSpPr>
          <p:nvPr>
            <p:ph type="pic" sz="quarter" idx="25"/>
          </p:nvPr>
        </p:nvSpPr>
        <p:spPr>
          <a:xfrm>
            <a:off x="475645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266617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5645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31"/>
          </p:nvPr>
        </p:nvSpPr>
        <p:spPr>
          <a:xfrm>
            <a:off x="6266617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Text upper left"/>
          <p:cNvSpPr>
            <a:spLocks noGrp="1"/>
          </p:cNvSpPr>
          <p:nvPr>
            <p:ph type="body" sz="quarter" idx="32"/>
          </p:nvPr>
        </p:nvSpPr>
        <p:spPr>
          <a:xfrm>
            <a:off x="2655128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upper right"/>
          <p:cNvSpPr>
            <a:spLocks noGrp="1"/>
          </p:cNvSpPr>
          <p:nvPr>
            <p:ph type="body" sz="quarter" idx="33"/>
          </p:nvPr>
        </p:nvSpPr>
        <p:spPr>
          <a:xfrm>
            <a:off x="8439092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bottom left"/>
          <p:cNvSpPr>
            <a:spLocks noGrp="1"/>
          </p:cNvSpPr>
          <p:nvPr>
            <p:ph type="body" sz="quarter" idx="34"/>
          </p:nvPr>
        </p:nvSpPr>
        <p:spPr>
          <a:xfrm>
            <a:off x="2655128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bottom right"/>
          <p:cNvSpPr>
            <a:spLocks noGrp="1"/>
          </p:cNvSpPr>
          <p:nvPr>
            <p:ph type="body" sz="quarter" idx="35"/>
          </p:nvPr>
        </p:nvSpPr>
        <p:spPr>
          <a:xfrm>
            <a:off x="8439092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Subtitle">
            <a:extLst>
              <a:ext uri="{FF2B5EF4-FFF2-40B4-BE49-F238E27FC236}">
                <a16:creationId xmlns:a16="http://schemas.microsoft.com/office/drawing/2014/main" id="{CD54EF50-1F75-4251-9838-5413705270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580152B0-65C5-4969-BA13-FFC077318B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DAFD084-463A-44C6-B882-24EE18CC2B98}"/>
              </a:ext>
            </a:extLst>
          </p:cNvPr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1E7FDC9-AC67-4CA4-86DE-4DFAAEE0DFF9}"/>
              </a:ext>
            </a:extLst>
          </p:cNvPr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0BFD11F-868A-4204-947B-D205C842DFE0}"/>
              </a:ext>
            </a:extLst>
          </p:cNvPr>
          <p:cNvSpPr/>
          <p:nvPr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CD1FA4C-A499-4E17-B3FC-CC3DA6E8CF7C}"/>
              </a:ext>
            </a:extLst>
          </p:cNvPr>
          <p:cNvSpPr/>
          <p:nvPr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32921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left"/>
          <p:cNvSpPr>
            <a:spLocks noGrp="1"/>
          </p:cNvSpPr>
          <p:nvPr>
            <p:ph type="body" sz="quarter" idx="17"/>
          </p:nvPr>
        </p:nvSpPr>
        <p:spPr>
          <a:xfrm>
            <a:off x="470343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right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6" name="Picture left"/>
          <p:cNvSpPr>
            <a:spLocks noGrp="1"/>
          </p:cNvSpPr>
          <p:nvPr>
            <p:ph type="pic" sz="quarter" idx="19" hasCustomPrompt="1"/>
          </p:nvPr>
        </p:nvSpPr>
        <p:spPr>
          <a:xfrm>
            <a:off x="4734090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right"/>
          <p:cNvSpPr>
            <a:spLocks noGrp="1"/>
          </p:cNvSpPr>
          <p:nvPr>
            <p:ph type="pic" sz="quarter" idx="20" hasCustomPrompt="1"/>
          </p:nvPr>
        </p:nvSpPr>
        <p:spPr>
          <a:xfrm>
            <a:off x="10488434" y="1857894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C2FDA775-7453-495D-ABC5-C379E37806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D55BC33C-2B71-4E68-81E3-F520AB462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1033781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">
            <a:extLst>
              <a:ext uri="{FF2B5EF4-FFF2-40B4-BE49-F238E27FC236}">
                <a16:creationId xmlns:a16="http://schemas.microsoft.com/office/drawing/2014/main" id="{8D89C7E6-37F5-4005-B8BE-658A5ADDE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0FA13130-E22F-4F71-97DB-A64E7A175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677075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7843742C-26CB-411F-8564-5030924198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4224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A7C729B7-24CD-4887-BCB2-9B9E69736A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0" name="MIO_AGENDA_IGNORE_NAVIGATION" hidden="1">
            <a:extLst>
              <a:ext uri="{FF2B5EF4-FFF2-40B4-BE49-F238E27FC236}">
                <a16:creationId xmlns:a16="http://schemas.microsoft.com/office/drawing/2014/main" id="{21E6B44B-2911-4D90-ADF1-345D287BEC40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" name="MIO_AGENDA_IGNORE_CHAPTER_REFERENCE" hidden="1">
            <a:extLst>
              <a:ext uri="{FF2B5EF4-FFF2-40B4-BE49-F238E27FC236}">
                <a16:creationId xmlns:a16="http://schemas.microsoft.com/office/drawing/2014/main" id="{D22541A4-6CCB-49E3-87E5-CEF66BC7C1D8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81AB6879-BEBD-4350-977F-6C88566174B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DC26E252-8524-4FD4-84CF-57D6F6206EB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34829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26FB2E4B-5D1B-4250-844C-3D50DE4A9F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6048928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" name="Title ( as Text PH)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ubtitle ( as Text PH)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714378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Subtitle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6399906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middle">
            <a:extLst>
              <a:ext uri="{FF2B5EF4-FFF2-40B4-BE49-F238E27FC236}">
                <a16:creationId xmlns:a16="http://schemas.microsoft.com/office/drawing/2014/main" id="{09891263-8779-41FC-9383-3693CA16CB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8730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center">
            <a:extLst>
              <a:ext uri="{FF2B5EF4-FFF2-40B4-BE49-F238E27FC236}">
                <a16:creationId xmlns:a16="http://schemas.microsoft.com/office/drawing/2014/main" id="{3F862111-A699-4618-9902-CD7B1ECC90E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right">
            <a:extLst>
              <a:ext uri="{FF2B5EF4-FFF2-40B4-BE49-F238E27FC236}">
                <a16:creationId xmlns:a16="http://schemas.microsoft.com/office/drawing/2014/main" id="{136FEA86-C43A-4BD9-AC25-65C16B3F484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78800" y="1851440"/>
            <a:ext cx="3556000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9D600A6A-61E2-4C72-A87B-39D905EFB4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9" name="Title">
            <a:extLst>
              <a:ext uri="{FF2B5EF4-FFF2-40B4-BE49-F238E27FC236}">
                <a16:creationId xmlns:a16="http://schemas.microsoft.com/office/drawing/2014/main" id="{D5910C4A-3157-47A5-8677-1140132DE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21E1916-39D6-44A9-8C07-60C8660A0953}"/>
              </a:ext>
            </a:extLst>
          </p:cNvPr>
          <p:cNvSpPr/>
          <p:nvPr/>
        </p:nvSpPr>
        <p:spPr>
          <a:xfrm>
            <a:off x="458729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2178E01-9486-4723-8ECD-9A89CE53905A}"/>
              </a:ext>
            </a:extLst>
          </p:cNvPr>
          <p:cNvSpPr/>
          <p:nvPr/>
        </p:nvSpPr>
        <p:spPr>
          <a:xfrm>
            <a:off x="4314824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2A3624-848D-4789-989D-4C19B95C8DD4}"/>
              </a:ext>
            </a:extLst>
          </p:cNvPr>
          <p:cNvSpPr/>
          <p:nvPr/>
        </p:nvSpPr>
        <p:spPr>
          <a:xfrm>
            <a:off x="8178800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692244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BAA35D0E-EBF0-4599-84F7-684DE89E56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CBCDA542-DB63-41BB-89C0-73F35C7D1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left">
            <a:extLst>
              <a:ext uri="{FF2B5EF4-FFF2-40B4-BE49-F238E27FC236}">
                <a16:creationId xmlns:a16="http://schemas.microsoft.com/office/drawing/2014/main" id="{C73178E3-6490-436A-8FEB-CC4E21B542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center right">
            <a:extLst>
              <a:ext uri="{FF2B5EF4-FFF2-40B4-BE49-F238E27FC236}">
                <a16:creationId xmlns:a16="http://schemas.microsoft.com/office/drawing/2014/main" id="{1B5A2B37-A59A-4B85-9144-75BC73AD9DB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center left">
            <a:extLst>
              <a:ext uri="{FF2B5EF4-FFF2-40B4-BE49-F238E27FC236}">
                <a16:creationId xmlns:a16="http://schemas.microsoft.com/office/drawing/2014/main" id="{0EDB9492-A5FE-44CC-90D8-0E0E80A4E8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right">
            <a:extLst>
              <a:ext uri="{FF2B5EF4-FFF2-40B4-BE49-F238E27FC236}">
                <a16:creationId xmlns:a16="http://schemas.microsoft.com/office/drawing/2014/main" id="{3D335E86-FA3A-4B76-B4D1-5D530C4E37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9876512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5BECBA53-5CA5-4826-B507-38E5EDBC493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83571CF0-9FB3-44B1-BE19-B891DD1B1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left">
            <a:extLst>
              <a:ext uri="{FF2B5EF4-FFF2-40B4-BE49-F238E27FC236}">
                <a16:creationId xmlns:a16="http://schemas.microsoft.com/office/drawing/2014/main" id="{CA32CD74-2C13-40B4-A25F-8871032067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ext center right">
            <a:extLst>
              <a:ext uri="{FF2B5EF4-FFF2-40B4-BE49-F238E27FC236}">
                <a16:creationId xmlns:a16="http://schemas.microsoft.com/office/drawing/2014/main" id="{0BD8344B-373A-4CA8-9F91-E02B0DA48B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0" name="Text center left">
            <a:extLst>
              <a:ext uri="{FF2B5EF4-FFF2-40B4-BE49-F238E27FC236}">
                <a16:creationId xmlns:a16="http://schemas.microsoft.com/office/drawing/2014/main" id="{55636606-D676-4661-AF12-C0DF71DF3A7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1" name="Text right">
            <a:extLst>
              <a:ext uri="{FF2B5EF4-FFF2-40B4-BE49-F238E27FC236}">
                <a16:creationId xmlns:a16="http://schemas.microsoft.com/office/drawing/2014/main" id="{59A4F706-D410-4A3E-B5DE-E6CD51845E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aseCode">
            <a:extLst>
              <a:ext uri="{FF2B5EF4-FFF2-40B4-BE49-F238E27FC236}">
                <a16:creationId xmlns:a16="http://schemas.microsoft.com/office/drawing/2014/main" id="{80722BCF-EAC6-4563-95CB-8DBE842E9D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900FBF6-54F6-4B67-A1F3-CFB545048C2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68D3198-C277-4239-A0FE-263D3F9A09AF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858833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5324" y="1853601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2979" y="4258270"/>
            <a:ext cx="123938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500785" y="4258270"/>
            <a:ext cx="124416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5149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28" name="Text top left">
            <a:extLst>
              <a:ext uri="{FF2B5EF4-FFF2-40B4-BE49-F238E27FC236}">
                <a16:creationId xmlns:a16="http://schemas.microsoft.com/office/drawing/2014/main" id="{0D485CFD-E778-438B-9F95-AA857AF5CA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344" y="1856232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9" name="Text top right">
            <a:extLst>
              <a:ext uri="{FF2B5EF4-FFF2-40B4-BE49-F238E27FC236}">
                <a16:creationId xmlns:a16="http://schemas.microsoft.com/office/drawing/2014/main" id="{1995C2BA-4183-48F4-92D9-4620CCDF5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7042" y="1847618"/>
            <a:ext cx="546461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0" name="Text bottom left">
            <a:extLst>
              <a:ext uri="{FF2B5EF4-FFF2-40B4-BE49-F238E27FC236}">
                <a16:creationId xmlns:a16="http://schemas.microsoft.com/office/drawing/2014/main" id="{2DC3B9DA-0A51-491C-923B-09D36118ADA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0344" y="4256623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1" name="Text bottom right">
            <a:extLst>
              <a:ext uri="{FF2B5EF4-FFF2-40B4-BE49-F238E27FC236}">
                <a16:creationId xmlns:a16="http://schemas.microsoft.com/office/drawing/2014/main" id="{70BD43BA-DF89-409F-B9BF-2853EC35826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7043" y="4256623"/>
            <a:ext cx="5483852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E3C8C216-A0D5-48CE-BB18-6E34DE5AE0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A6B3ABAE-3971-4ECC-8E25-1E94617FBF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3E3D5E-69E0-409C-B43B-3D03BAF8E640}"/>
              </a:ext>
            </a:extLst>
          </p:cNvPr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AC51DC9-50A0-4091-8F6F-9150D453B6B1}"/>
              </a:ext>
            </a:extLst>
          </p:cNvPr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18D7C8-CEED-48A7-ADB2-7610B12C1B07}"/>
              </a:ext>
            </a:extLst>
          </p:cNvPr>
          <p:cNvSpPr/>
          <p:nvPr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7A403C2-4204-4E69-B696-73BE1FE1F740}"/>
              </a:ext>
            </a:extLst>
          </p:cNvPr>
          <p:cNvSpPr/>
          <p:nvPr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539424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left"/>
          <p:cNvSpPr>
            <a:spLocks noGrp="1"/>
          </p:cNvSpPr>
          <p:nvPr>
            <p:ph type="body" sz="quarter" idx="13"/>
          </p:nvPr>
        </p:nvSpPr>
        <p:spPr>
          <a:xfrm>
            <a:off x="464481" y="4189870"/>
            <a:ext cx="8566108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6185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/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bottom right"/>
          <p:cNvSpPr>
            <a:spLocks noGrp="1"/>
          </p:cNvSpPr>
          <p:nvPr>
            <p:ph type="body" sz="quarter" idx="15"/>
          </p:nvPr>
        </p:nvSpPr>
        <p:spPr>
          <a:xfrm>
            <a:off x="9406187" y="5995943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MIO_AGENDA_LAST_SLIDE" hidden="1">
            <a:extLst>
              <a:ext uri="{FF2B5EF4-FFF2-40B4-BE49-F238E27FC236}">
                <a16:creationId xmlns:a16="http://schemas.microsoft.com/office/drawing/2014/main" id="{249491D1-41CC-455A-8F05-5CEA24B33A18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MIO_AGENDA_IGNORE_NAVIGATION" hidden="1">
            <a:extLst>
              <a:ext uri="{FF2B5EF4-FFF2-40B4-BE49-F238E27FC236}">
                <a16:creationId xmlns:a16="http://schemas.microsoft.com/office/drawing/2014/main" id="{9518ECE1-C45A-4DB9-B0F0-E67A14C77DA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642E351A-DEBD-43E5-AD67-7FEDF79D24F3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8CD51AF1-CDB3-4034-AC6C-5A6D02982D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00F5C9D-6222-F798-E176-DFD26208210C}"/>
              </a:ext>
            </a:extLst>
          </p:cNvPr>
          <p:cNvSpPr txBox="1"/>
          <p:nvPr userDrawn="1"/>
        </p:nvSpPr>
        <p:spPr>
          <a:xfrm>
            <a:off x="4434840" y="90185"/>
            <a:ext cx="323088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2800" b="1" dirty="0">
                <a:solidFill>
                  <a:srgbClr val="FF0000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0747827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left"/>
          <p:cNvSpPr>
            <a:spLocks noGrp="1"/>
          </p:cNvSpPr>
          <p:nvPr>
            <p:ph type="body" sz="quarter" idx="13"/>
          </p:nvPr>
        </p:nvSpPr>
        <p:spPr>
          <a:xfrm>
            <a:off x="466316" y="4194287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12074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bottom right"/>
          <p:cNvSpPr>
            <a:spLocks noGrp="1"/>
          </p:cNvSpPr>
          <p:nvPr>
            <p:ph type="body" sz="quarter" idx="15"/>
          </p:nvPr>
        </p:nvSpPr>
        <p:spPr>
          <a:xfrm>
            <a:off x="9412076" y="5995943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MIO_AGENDA_LAST_SLIDE" hidden="1">
            <a:extLst>
              <a:ext uri="{FF2B5EF4-FFF2-40B4-BE49-F238E27FC236}">
                <a16:creationId xmlns:a16="http://schemas.microsoft.com/office/drawing/2014/main" id="{4DE01233-0E5B-4D44-9AA0-8C2FAEC3AA99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C544D53A-D969-4D8A-9227-FE63C48016F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MIO_AGENDA_IGNORE_CHAPTER_REFERENCE" hidden="1">
            <a:extLst>
              <a:ext uri="{FF2B5EF4-FFF2-40B4-BE49-F238E27FC236}">
                <a16:creationId xmlns:a16="http://schemas.microsoft.com/office/drawing/2014/main" id="{73E0B1A6-781D-43D1-9647-99C9EAE528B1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9D2AB386-A8EE-48A5-942B-2803132FAF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105203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83AF7E6C-5496-4190-AE22-49321A84B469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VALID_LAYOUT" hidden="1">
            <a:extLst>
              <a:ext uri="{FF2B5EF4-FFF2-40B4-BE49-F238E27FC236}">
                <a16:creationId xmlns:a16="http://schemas.microsoft.com/office/drawing/2014/main" id="{636C7600-5E54-4871-BD57-39F7D85C9645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7A5342FA-67EE-4ADC-9C59-3703A4E30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39304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64166F7-D454-4359-BABB-8D7E3E8B270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4" name="Text Placeholder">
            <a:extLst>
              <a:ext uri="{FF2B5EF4-FFF2-40B4-BE49-F238E27FC236}">
                <a16:creationId xmlns:a16="http://schemas.microsoft.com/office/drawing/2014/main" id="{E65ED79E-D6FD-4D90-9073-C8776CB6AD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9970BE9A-08D6-4159-A7B6-88479C7815D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MIO_AGENDA_IGNORE_CHAPTER_REFERENCE" hidden="1">
            <a:extLst>
              <a:ext uri="{FF2B5EF4-FFF2-40B4-BE49-F238E27FC236}">
                <a16:creationId xmlns:a16="http://schemas.microsoft.com/office/drawing/2014/main" id="{470398AC-9E3C-4202-BC74-310D36FEDC82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91CFDFEF-967E-43B5-BC07-2E7BB4B587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  <p:sp>
        <p:nvSpPr>
          <p:cNvPr id="41" name="Title">
            <a:extLst>
              <a:ext uri="{FF2B5EF4-FFF2-40B4-BE49-F238E27FC236}">
                <a16:creationId xmlns:a16="http://schemas.microsoft.com/office/drawing/2014/main" id="{70F15D73-40F4-4F95-9E2A-7A67F615DB4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C3057856-4F58-419D-8F40-60AF631D1F3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283593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MIO_VALID_LAYOUT" hidden="1">
            <a:extLst>
              <a:ext uri="{FF2B5EF4-FFF2-40B4-BE49-F238E27FC236}">
                <a16:creationId xmlns:a16="http://schemas.microsoft.com/office/drawing/2014/main" id="{EDA56DE6-A1BA-458D-8E96-17188D541BFA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12A54FD-069B-4D28-8BAD-8C8AADEED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7871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Content"/>
          <p:cNvSpPr>
            <a:spLocks noGrp="1"/>
          </p:cNvSpPr>
          <p:nvPr>
            <p:ph idx="1"/>
          </p:nvPr>
        </p:nvSpPr>
        <p:spPr>
          <a:xfrm>
            <a:off x="460887" y="1714500"/>
            <a:ext cx="11277598" cy="46481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MIO_VALID_LAYOUT" hidden="1">
            <a:extLst>
              <a:ext uri="{FF2B5EF4-FFF2-40B4-BE49-F238E27FC236}">
                <a16:creationId xmlns:a16="http://schemas.microsoft.com/office/drawing/2014/main" id="{C4C53B51-12E9-46AC-A69D-84DDBEA6B078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EC1E235-3062-4F03-8411-7E415A894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51935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4509" y="2080551"/>
            <a:ext cx="11281285" cy="404046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8" name="Headline / Chart title"/>
          <p:cNvSpPr>
            <a:spLocks noGrp="1"/>
          </p:cNvSpPr>
          <p:nvPr>
            <p:ph type="body" sz="quarter" idx="18"/>
          </p:nvPr>
        </p:nvSpPr>
        <p:spPr>
          <a:xfrm>
            <a:off x="457200" y="1723364"/>
            <a:ext cx="11288595" cy="3571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9C5E24D-2264-4B37-BBC9-253349E5F4FF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599738-D568-49F1-87EE-956C570FD9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57733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57038" y="2136645"/>
            <a:ext cx="5381445" cy="3971013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57041" y="1714500"/>
            <a:ext cx="5381443" cy="383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0887" y="2136645"/>
            <a:ext cx="5372330" cy="3971013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0887" y="1714500"/>
            <a:ext cx="5374803" cy="383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C2140F0C-FA1D-42CA-9599-41C4E3B59FD5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DC52FF8-2BD1-46C1-8105-1A58621541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83275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0887" y="2064085"/>
            <a:ext cx="3552881" cy="404357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8" name="Headline left / Chart title"/>
          <p:cNvSpPr>
            <a:spLocks noGrp="1"/>
          </p:cNvSpPr>
          <p:nvPr>
            <p:ph type="body" sz="quarter" idx="18"/>
          </p:nvPr>
        </p:nvSpPr>
        <p:spPr>
          <a:xfrm>
            <a:off x="460887" y="1714500"/>
            <a:ext cx="3552313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17849" y="2064085"/>
            <a:ext cx="3567833" cy="404357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8" name="Headline center / Chart title"/>
          <p:cNvSpPr>
            <a:spLocks noGrp="1"/>
          </p:cNvSpPr>
          <p:nvPr>
            <p:ph type="body" sz="quarter" idx="20"/>
          </p:nvPr>
        </p:nvSpPr>
        <p:spPr>
          <a:xfrm>
            <a:off x="4317847" y="1714500"/>
            <a:ext cx="3567833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67555" y="2064085"/>
            <a:ext cx="3552886" cy="404357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0" name="Headline right / Chart title"/>
          <p:cNvSpPr>
            <a:spLocks noGrp="1"/>
          </p:cNvSpPr>
          <p:nvPr>
            <p:ph type="body" sz="quarter" idx="22"/>
          </p:nvPr>
        </p:nvSpPr>
        <p:spPr>
          <a:xfrm>
            <a:off x="8167555" y="1714500"/>
            <a:ext cx="3552886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8DE0E4EB-2CC6-4FB2-8DAE-A99F30E30E6D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B8D8EA-18D3-4433-A2E1-2A9E61E55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237021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4001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1532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MIO_AGENDA_IGNORE_NAVIGATION" hidden="1">
            <a:extLst>
              <a:ext uri="{FF2B5EF4-FFF2-40B4-BE49-F238E27FC236}">
                <a16:creationId xmlns:a16="http://schemas.microsoft.com/office/drawing/2014/main" id="{A2163211-8843-4B3A-A173-4CC8DE6FF39B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MIO_AGENDA_IGNORE_CHAPTER_REFERENCE" hidden="1">
            <a:extLst>
              <a:ext uri="{FF2B5EF4-FFF2-40B4-BE49-F238E27FC236}">
                <a16:creationId xmlns:a16="http://schemas.microsoft.com/office/drawing/2014/main" id="{8F02921B-CECB-4A04-AB2B-50AE546A3B6D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8728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9901" y="1726936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B33AFD28-F06F-4496-B660-E40557BF44B7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IGNORE_CHAPTER_REFERENCE" hidden="1">
            <a:extLst>
              <a:ext uri="{FF2B5EF4-FFF2-40B4-BE49-F238E27FC236}">
                <a16:creationId xmlns:a16="http://schemas.microsoft.com/office/drawing/2014/main" id="{9233F6B7-3A6D-4D1B-A7FB-196EDC508EEF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882A5C28-0BF5-4D8F-94C9-8EE9CE72457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8F3C3DFA-9FB3-46AB-BDF5-39E1DC27293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6FC1D4-487D-4C1C-A92F-A0C6E30EA16B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94861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9901" y="1728217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8361DA31-7C99-49AA-A40D-CC798429750C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D1BC51F7-D24C-4262-85CD-7EFD0E8E4885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7D770CEC-7A1C-4675-B9F6-4684B6BC5EE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32612B95-CBCE-43BD-ACD5-F7E8E28AD6C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0997DD9-C2E6-4412-906F-CEA396FE065F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8082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0837ED46-4108-4499-BE40-E17599CFD675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BD69D7E4-8FB7-4417-A428-3FC842962DF0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EE7151CE-534A-4DA8-B077-606246FFE4A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9F6D2D6D-4A12-45B7-A359-4B35E6BD19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5B17B4-6589-41B3-A983-093BB26C9BCC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40572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9FC4547F-C195-4067-8008-B68776595B5D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12EACD47-41DE-4CD2-A21A-14DBE7C985AF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6354E020-0B8B-4490-8FBE-69D3AA2C5D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1775EE3B-1424-455C-B471-9011952BEC3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8004DD8-5CCD-47AF-881E-102D039801F2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67342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3.xml"/><Relationship Id="rId50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4.x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E9FBD50-6914-DDA7-DF45-544CC2A96E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183322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411" imgH="411" progId="TCLayout.ActiveDocument.1">
                  <p:embed/>
                </p:oleObj>
              </mc:Choice>
              <mc:Fallback>
                <p:oleObj name="think-cell Slide" r:id="rId51" imgW="411" imgH="41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9FBD50-6914-DDA7-DF45-544CC2A96E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>
            <p:custDataLst>
              <p:tags r:id="rId47"/>
            </p:custDataLst>
          </p:nvPr>
        </p:nvSpPr>
        <p:spPr>
          <a:xfrm>
            <a:off x="6335184" y="6519673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ancial Advisory</a:t>
            </a:r>
          </a:p>
        </p:txBody>
      </p:sp>
      <p:sp>
        <p:nvSpPr>
          <p:cNvPr id="18" name="Copyright"/>
          <p:cNvSpPr txBox="1"/>
          <p:nvPr>
            <p:custDataLst>
              <p:tags r:id="rId48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3 | Target Profi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0887" y="1714500"/>
            <a:ext cx="11277599" cy="4648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empower - DO NOT DELETE!!!">
            <a:extLst>
              <a:ext uri="{FF2B5EF4-FFF2-40B4-BE49-F238E27FC236}">
                <a16:creationId xmlns:a16="http://schemas.microsoft.com/office/drawing/2014/main" id="{AF3F685E-75BA-4AAC-8247-5B8C55DC34A1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010D3BDB-9505-4DFA-9DF5-8ABBE694D4C1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2901586-CB24-DF88-6ACB-EEA77E461197}"/>
              </a:ext>
            </a:extLst>
          </p:cNvPr>
          <p:cNvSpPr txBox="1"/>
          <p:nvPr userDrawn="1"/>
        </p:nvSpPr>
        <p:spPr>
          <a:xfrm>
            <a:off x="4434840" y="90185"/>
            <a:ext cx="323088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2800" b="1" dirty="0">
                <a:solidFill>
                  <a:srgbClr val="FF0000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955993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7" r:id="rId1"/>
    <p:sldLayoutId id="2147484018" r:id="rId2"/>
    <p:sldLayoutId id="2147484019" r:id="rId3"/>
    <p:sldLayoutId id="2147484020" r:id="rId4"/>
    <p:sldLayoutId id="2147484021" r:id="rId5"/>
    <p:sldLayoutId id="2147484022" r:id="rId6"/>
    <p:sldLayoutId id="2147484023" r:id="rId7"/>
    <p:sldLayoutId id="2147484024" r:id="rId8"/>
    <p:sldLayoutId id="2147484025" r:id="rId9"/>
    <p:sldLayoutId id="2147484026" r:id="rId10"/>
    <p:sldLayoutId id="2147484027" r:id="rId11"/>
    <p:sldLayoutId id="2147484028" r:id="rId12"/>
    <p:sldLayoutId id="2147484029" r:id="rId13"/>
    <p:sldLayoutId id="2147484030" r:id="rId14"/>
    <p:sldLayoutId id="2147484031" r:id="rId15"/>
    <p:sldLayoutId id="2147484032" r:id="rId16"/>
    <p:sldLayoutId id="2147484033" r:id="rId17"/>
    <p:sldLayoutId id="2147484034" r:id="rId18"/>
    <p:sldLayoutId id="2147484035" r:id="rId19"/>
    <p:sldLayoutId id="2147484037" r:id="rId20"/>
    <p:sldLayoutId id="2147484039" r:id="rId21"/>
    <p:sldLayoutId id="2147484040" r:id="rId22"/>
    <p:sldLayoutId id="2147484041" r:id="rId23"/>
    <p:sldLayoutId id="2147484042" r:id="rId24"/>
    <p:sldLayoutId id="2147484043" r:id="rId25"/>
    <p:sldLayoutId id="2147484044" r:id="rId26"/>
    <p:sldLayoutId id="2147484045" r:id="rId27"/>
    <p:sldLayoutId id="2147484046" r:id="rId28"/>
    <p:sldLayoutId id="2147484047" r:id="rId29"/>
    <p:sldLayoutId id="2147484048" r:id="rId30"/>
    <p:sldLayoutId id="2147484049" r:id="rId31"/>
    <p:sldLayoutId id="2147484050" r:id="rId32"/>
    <p:sldLayoutId id="2147484051" r:id="rId33"/>
    <p:sldLayoutId id="2147484052" r:id="rId34"/>
    <p:sldLayoutId id="2147484053" r:id="rId35"/>
    <p:sldLayoutId id="2147484054" r:id="rId36"/>
    <p:sldLayoutId id="2147484055" r:id="rId37"/>
    <p:sldLayoutId id="2147484056" r:id="rId38"/>
    <p:sldLayoutId id="2147484059" r:id="rId39"/>
    <p:sldLayoutId id="2147484060" r:id="rId40"/>
    <p:sldLayoutId id="2147484061" r:id="rId41"/>
    <p:sldLayoutId id="2147484062" r:id="rId42"/>
    <p:sldLayoutId id="2147484063" r:id="rId43"/>
    <p:sldLayoutId id="2147484064" r:id="rId44"/>
  </p:sldLayoutIdLst>
  <p:transition>
    <p:fade/>
  </p:transition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0477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1200" b="1" kern="1200" dirty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28600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242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476250" indent="-104775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267300" indent="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None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5" orient="horz" pos="4008">
          <p15:clr>
            <a:srgbClr val="F26B43"/>
          </p15:clr>
        </p15:guide>
        <p15:guide id="49" orient="horz" pos="436">
          <p15:clr>
            <a:srgbClr val="F26B43"/>
          </p15:clr>
        </p15:guide>
        <p15:guide id="68" orient="horz" pos="4104">
          <p15:clr>
            <a:srgbClr val="F26B43"/>
          </p15:clr>
        </p15:guide>
        <p15:guide id="69" orient="horz" pos="2088">
          <p15:clr>
            <a:srgbClr val="F26B43"/>
          </p15:clr>
        </p15:guide>
        <p15:guide id="70" orient="horz" pos="1080">
          <p15:clr>
            <a:srgbClr val="F26B43"/>
          </p15:clr>
        </p15:guide>
        <p15:guide id="71" orient="horz" pos="216">
          <p15:clr>
            <a:srgbClr val="F26B43"/>
          </p15:clr>
        </p15:guide>
        <p15:guide id="72" pos="3840">
          <p15:clr>
            <a:srgbClr val="F26B43"/>
          </p15:clr>
        </p15:guide>
        <p15:guide id="73" pos="3936">
          <p15:clr>
            <a:srgbClr val="F26B43"/>
          </p15:clr>
        </p15:guide>
        <p15:guide id="74" pos="288">
          <p15:clr>
            <a:srgbClr val="F26B43"/>
          </p15:clr>
        </p15:guide>
        <p15:guide id="75" pos="4960">
          <p15:clr>
            <a:srgbClr val="F26B43"/>
          </p15:clr>
        </p15:guide>
        <p15:guide id="76" pos="3744">
          <p15:clr>
            <a:srgbClr val="F26B43"/>
          </p15:clr>
        </p15:guide>
        <p15:guide id="77" pos="2720">
          <p15:clr>
            <a:srgbClr val="F26B43"/>
          </p15:clr>
        </p15:guide>
        <p15:guide id="78" pos="2528">
          <p15:clr>
            <a:srgbClr val="F26B43"/>
          </p15:clr>
        </p15:guide>
        <p15:guide id="79" pos="1312">
          <p15:clr>
            <a:srgbClr val="F26B43"/>
          </p15:clr>
        </p15:guide>
        <p15:guide id="80" pos="1504">
          <p15:clr>
            <a:srgbClr val="F26B43"/>
          </p15:clr>
        </p15:guide>
        <p15:guide id="81" pos="5152">
          <p15:clr>
            <a:srgbClr val="F26B43"/>
          </p15:clr>
        </p15:guide>
        <p15:guide id="82" pos="6176">
          <p15:clr>
            <a:srgbClr val="F26B43"/>
          </p15:clr>
        </p15:guide>
        <p15:guide id="83" pos="6368">
          <p15:clr>
            <a:srgbClr val="F26B43"/>
          </p15:clr>
        </p15:guide>
        <p15:guide id="84" pos="7392">
          <p15:clr>
            <a:srgbClr val="F26B43"/>
          </p15:clr>
        </p15:guide>
        <p15:guide id="85" orient="horz" pos="21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1A8805D-3278-73C5-875E-8A7F87A200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3015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A8805D-3278-73C5-875E-8A7F87A20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Valuation, Modeling &amp; Economics | 29.09.2023</a:t>
            </a:r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9D5C5EF4-9CCA-4665-825B-F674776CB05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6"/>
          <a:srcRect t="57" b="57"/>
          <a:stretch/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A53A8AD-38C0-4854-81B3-9B99B4E007E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112095322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/////wQAMww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mY3E0TgchDtbmoTUYgJDQFAAAAAAADAAAAAAADAAAAAwADAAMA////////BAAAAAMAEAALitfXtC3bQUawKFBEzYop1gUAAAABAAMAAAACAAMAAAABAAMAAAAA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AmY3E0TgchDtbmoTUYgJDQDRGF0YQAbAAAABExpbmtlZFNoYXBlRGF0YQAFAAAAAAACTmFtZQAZAAAATGlua2VkU2hhcGVzRGF0YVByb3BlcnR5ABBWZXJzaW9uAAAAAAAJTGFzdFdyaXRlADSMfEN4AQAAAAEA/////50AnQAAAAVfaWQAEAAAAASK19e0LdtBRrAoUETNiinWA0RhdGEAKgAAAAhQcmVzZW50YXRpb25TY2FubmVkRm9yTGlua2VkU2hhcGVzAAEAAk5hbWUAJAAAAExpbmtlZFNoYXBlUHJlc2VudGF0aW9uU2V0dGluZ3NEYXRhABBWZXJzaW9uAAAAAAAJTGFzdFdyaXRlAEWMfEN4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PRESENTATION_LANGUAGE" val="103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00000000-0000-0000-0000-000000000000"/>
  <p:tag name="MIO_UPDATE" val="True"/>
  <p:tag name="MIO_VERSION" val="01.01.0001 00:00:00"/>
  <p:tag name="MIO_DBID" val=""/>
  <p:tag name="MIO_LASTDOWNLOADED" val="01.01.0001 00:00:00.000"/>
  <p:tag name="MIO_FALLBACK_LAYOUT" val="32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5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1137f388-d257-44c7-abdf-c0d75a0331bb"/>
  <p:tag name="MIO_UPDATE" val="True"/>
  <p:tag name="MIO_DBID" val="fede6900-895c-4459-b97c-72b2b9dac459"/>
  <p:tag name="MIO_FALLBACK_LAYOUT" val="29"/>
  <p:tag name="MIO_SHOW_DATE" val="False"/>
  <p:tag name="MIO_SHOW_FOOTER" val="False"/>
  <p:tag name="MIO_SHOW_PAGENUMBER" val="True"/>
  <p:tag name="MIO_AVOID_BLANK_LAYOUT" val="False"/>
  <p:tag name="MIO_CD_LAYOUT_VALID_AREA" val="False"/>
  <p:tag name="MIO_EMBED_FONT" val="False"/>
  <p:tag name="MIO_MATCH_COLOR_SCHEME" val="False"/>
  <p:tag name="MIO_NUMBER_OF_VALID_LAYOUTS" val="44"/>
  <p:tag name="MIO_OBJECTNAME" val="01 Deloitte 16:9 (2023) short"/>
  <p:tag name="MIO_VERSION" val="31.07.2023 14:36:47"/>
  <p:tag name="MIO_LASTDOWNLOADED" val="11.08.2023 14:56:30.057"/>
  <p:tag name="MIO_CDID" val="b832c4bc-5070-4232-bfdb-3d42c9da7c2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heme/theme1.xml><?xml version="1.0" encoding="utf-8"?>
<a:theme xmlns:a="http://schemas.openxmlformats.org/drawingml/2006/main" name="1_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9dbb183-dca0-47d9-81f2-98628ecb14e3" xsi:nil="true"/>
    <lcf76f155ced4ddcb4097134ff3c332f xmlns="50c540a8-be17-4e4f-b2fa-83a960fd78d5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33C9CD7EBE5A643AC01446DC0B75261" ma:contentTypeVersion="16" ma:contentTypeDescription="Create a new document." ma:contentTypeScope="" ma:versionID="51c0bbd0a9cbcc3f766e4b01b4461b35">
  <xsd:schema xmlns:xsd="http://www.w3.org/2001/XMLSchema" xmlns:xs="http://www.w3.org/2001/XMLSchema" xmlns:p="http://schemas.microsoft.com/office/2006/metadata/properties" xmlns:ns2="50c540a8-be17-4e4f-b2fa-83a960fd78d5" xmlns:ns3="39dbb183-dca0-47d9-81f2-98628ecb14e3" targetNamespace="http://schemas.microsoft.com/office/2006/metadata/properties" ma:root="true" ma:fieldsID="8f44c723a7ac8eab97c0ee06c33050f3" ns2:_="" ns3:_="">
    <xsd:import namespace="50c540a8-be17-4e4f-b2fa-83a960fd78d5"/>
    <xsd:import namespace="39dbb183-dca0-47d9-81f2-98628ecb14e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c540a8-be17-4e4f-b2fa-83a960fd78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dbb183-dca0-47d9-81f2-98628ecb14e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9879f705-13bf-420e-998d-cd9f17b37439}" ma:internalName="TaxCatchAll" ma:showField="CatchAllData" ma:web="39dbb183-dca0-47d9-81f2-98628ecb14e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FEDF1E9-681E-4A56-B94A-19D76C9C27B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4515E2F-AA05-4DA1-B273-D971D8F4327E}">
  <ds:schemaRefs>
    <ds:schemaRef ds:uri="39dbb183-dca0-47d9-81f2-98628ecb14e3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http://purl.org/dc/terms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50c540a8-be17-4e4f-b2fa-83a960fd78d5"/>
  </ds:schemaRefs>
</ds:datastoreItem>
</file>

<file path=customXml/itemProps3.xml><?xml version="1.0" encoding="utf-8"?>
<ds:datastoreItem xmlns:ds="http://schemas.openxmlformats.org/officeDocument/2006/customXml" ds:itemID="{72E0C138-9290-41B1-9555-7A294306187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0c540a8-be17-4e4f-b2fa-83a960fd78d5"/>
    <ds:schemaRef ds:uri="39dbb183-dca0-47d9-81f2-98628ecb14e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 Brand Theme</Template>
  <TotalTime>0</TotalTime>
  <Words>9</Words>
  <Application>Microsoft Office PowerPoint</Application>
  <PresentationFormat>Breitbild</PresentationFormat>
  <Paragraphs>3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Verdana</vt:lpstr>
      <vt:lpstr>Wingdings 2</vt:lpstr>
      <vt:lpstr>1_Deloitte Brand Theme</vt:lpstr>
      <vt:lpstr>think-cell Slide</vt:lpstr>
      <vt:lpstr>Te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4-09T19:50:51Z</dcterms:created>
  <dcterms:modified xsi:type="dcterms:W3CDTF">2023-11-15T15:30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10-28T12:19:22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1eb54c1d-227c-4975-87ea-a85850fa64b0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733C9CD7EBE5A643AC01446DC0B75261</vt:lpwstr>
  </property>
  <property fmtid="{D5CDD505-2E9C-101B-9397-08002B2CF9AE}" pid="10" name="MediaServiceImageTags">
    <vt:lpwstr/>
  </property>
</Properties>
</file>